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1"/>
  </p:sldMasterIdLst>
  <p:notesMasterIdLst>
    <p:notesMasterId r:id="rId90"/>
  </p:notesMasterIdLst>
  <p:handoutMasterIdLst>
    <p:handoutMasterId r:id="rId91"/>
  </p:handoutMasterIdLst>
  <p:sldIdLst>
    <p:sldId id="321" r:id="rId2"/>
    <p:sldId id="322" r:id="rId3"/>
    <p:sldId id="408" r:id="rId4"/>
    <p:sldId id="407" r:id="rId5"/>
    <p:sldId id="406" r:id="rId6"/>
    <p:sldId id="403" r:id="rId7"/>
    <p:sldId id="404" r:id="rId8"/>
    <p:sldId id="405" r:id="rId9"/>
    <p:sldId id="324" r:id="rId10"/>
    <p:sldId id="325" r:id="rId11"/>
    <p:sldId id="326" r:id="rId12"/>
    <p:sldId id="327" r:id="rId13"/>
    <p:sldId id="328" r:id="rId14"/>
    <p:sldId id="329" r:id="rId15"/>
    <p:sldId id="330" r:id="rId16"/>
    <p:sldId id="331" r:id="rId17"/>
    <p:sldId id="332" r:id="rId18"/>
    <p:sldId id="333" r:id="rId19"/>
    <p:sldId id="334" r:id="rId20"/>
    <p:sldId id="335" r:id="rId21"/>
    <p:sldId id="336" r:id="rId22"/>
    <p:sldId id="337" r:id="rId23"/>
    <p:sldId id="338" r:id="rId24"/>
    <p:sldId id="339" r:id="rId25"/>
    <p:sldId id="340" r:id="rId26"/>
    <p:sldId id="341" r:id="rId27"/>
    <p:sldId id="342" r:id="rId28"/>
    <p:sldId id="343" r:id="rId29"/>
    <p:sldId id="344" r:id="rId30"/>
    <p:sldId id="345" r:id="rId31"/>
    <p:sldId id="346" r:id="rId32"/>
    <p:sldId id="347" r:id="rId33"/>
    <p:sldId id="348" r:id="rId34"/>
    <p:sldId id="349" r:id="rId35"/>
    <p:sldId id="350" r:id="rId36"/>
    <p:sldId id="351" r:id="rId37"/>
    <p:sldId id="352" r:id="rId38"/>
    <p:sldId id="353" r:id="rId39"/>
    <p:sldId id="354" r:id="rId40"/>
    <p:sldId id="355" r:id="rId41"/>
    <p:sldId id="356" r:id="rId42"/>
    <p:sldId id="357" r:id="rId43"/>
    <p:sldId id="358" r:id="rId44"/>
    <p:sldId id="359" r:id="rId45"/>
    <p:sldId id="360" r:id="rId46"/>
    <p:sldId id="361" r:id="rId47"/>
    <p:sldId id="362" r:id="rId48"/>
    <p:sldId id="363" r:id="rId49"/>
    <p:sldId id="364" r:id="rId50"/>
    <p:sldId id="365" r:id="rId51"/>
    <p:sldId id="366" r:id="rId52"/>
    <p:sldId id="367" r:id="rId53"/>
    <p:sldId id="368" r:id="rId54"/>
    <p:sldId id="369" r:id="rId55"/>
    <p:sldId id="370" r:id="rId56"/>
    <p:sldId id="371" r:id="rId57"/>
    <p:sldId id="372" r:id="rId58"/>
    <p:sldId id="373" r:id="rId59"/>
    <p:sldId id="374" r:id="rId60"/>
    <p:sldId id="375" r:id="rId61"/>
    <p:sldId id="376" r:id="rId62"/>
    <p:sldId id="377" r:id="rId63"/>
    <p:sldId id="378" r:id="rId64"/>
    <p:sldId id="379" r:id="rId65"/>
    <p:sldId id="380" r:id="rId66"/>
    <p:sldId id="381" r:id="rId67"/>
    <p:sldId id="382" r:id="rId68"/>
    <p:sldId id="383" r:id="rId69"/>
    <p:sldId id="384" r:id="rId70"/>
    <p:sldId id="385" r:id="rId71"/>
    <p:sldId id="386" r:id="rId72"/>
    <p:sldId id="387" r:id="rId73"/>
    <p:sldId id="388" r:id="rId74"/>
    <p:sldId id="389" r:id="rId75"/>
    <p:sldId id="390" r:id="rId76"/>
    <p:sldId id="391" r:id="rId77"/>
    <p:sldId id="392" r:id="rId78"/>
    <p:sldId id="393" r:id="rId79"/>
    <p:sldId id="394" r:id="rId80"/>
    <p:sldId id="395" r:id="rId81"/>
    <p:sldId id="396" r:id="rId82"/>
    <p:sldId id="397" r:id="rId83"/>
    <p:sldId id="398" r:id="rId84"/>
    <p:sldId id="399" r:id="rId85"/>
    <p:sldId id="400" r:id="rId86"/>
    <p:sldId id="401" r:id="rId87"/>
    <p:sldId id="402" r:id="rId88"/>
    <p:sldId id="278" r:id="rId89"/>
  </p:sldIdLst>
  <p:sldSz cx="12192000" cy="6858000"/>
  <p:notesSz cx="6858000" cy="9144000"/>
  <p:custDataLst>
    <p:tags r:id="rId9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14AEE034-C4CE-4E9D-92C8-50B5C8AAD71D}">
          <p14:sldIdLst>
            <p14:sldId id="321"/>
            <p14:sldId id="322"/>
            <p14:sldId id="408"/>
            <p14:sldId id="407"/>
            <p14:sldId id="406"/>
            <p14:sldId id="403"/>
            <p14:sldId id="404"/>
            <p14:sldId id="405"/>
            <p14:sldId id="324"/>
            <p14:sldId id="325"/>
            <p14:sldId id="326"/>
            <p14:sldId id="327"/>
            <p14:sldId id="328"/>
            <p14:sldId id="329"/>
            <p14:sldId id="330"/>
            <p14:sldId id="331"/>
            <p14:sldId id="332"/>
            <p14:sldId id="333"/>
            <p14:sldId id="334"/>
            <p14:sldId id="335"/>
            <p14:sldId id="336"/>
            <p14:sldId id="337"/>
            <p14:sldId id="338"/>
            <p14:sldId id="339"/>
            <p14:sldId id="340"/>
            <p14:sldId id="341"/>
            <p14:sldId id="342"/>
            <p14:sldId id="343"/>
            <p14:sldId id="344"/>
            <p14:sldId id="345"/>
            <p14:sldId id="346"/>
            <p14:sldId id="347"/>
            <p14:sldId id="348"/>
            <p14:sldId id="349"/>
            <p14:sldId id="350"/>
            <p14:sldId id="351"/>
            <p14:sldId id="352"/>
            <p14:sldId id="353"/>
            <p14:sldId id="354"/>
            <p14:sldId id="355"/>
            <p14:sldId id="356"/>
            <p14:sldId id="357"/>
            <p14:sldId id="358"/>
            <p14:sldId id="359"/>
            <p14:sldId id="360"/>
            <p14:sldId id="361"/>
            <p14:sldId id="362"/>
            <p14:sldId id="363"/>
            <p14:sldId id="364"/>
            <p14:sldId id="365"/>
            <p14:sldId id="366"/>
            <p14:sldId id="367"/>
            <p14:sldId id="368"/>
            <p14:sldId id="369"/>
            <p14:sldId id="370"/>
            <p14:sldId id="371"/>
            <p14:sldId id="372"/>
            <p14:sldId id="373"/>
            <p14:sldId id="374"/>
            <p14:sldId id="375"/>
            <p14:sldId id="376"/>
            <p14:sldId id="377"/>
            <p14:sldId id="378"/>
            <p14:sldId id="379"/>
            <p14:sldId id="380"/>
            <p14:sldId id="381"/>
            <p14:sldId id="382"/>
            <p14:sldId id="383"/>
            <p14:sldId id="384"/>
            <p14:sldId id="385"/>
            <p14:sldId id="386"/>
            <p14:sldId id="387"/>
            <p14:sldId id="388"/>
            <p14:sldId id="389"/>
            <p14:sldId id="390"/>
            <p14:sldId id="391"/>
            <p14:sldId id="392"/>
            <p14:sldId id="393"/>
            <p14:sldId id="394"/>
            <p14:sldId id="395"/>
            <p14:sldId id="396"/>
            <p14:sldId id="397"/>
            <p14:sldId id="398"/>
            <p14:sldId id="399"/>
            <p14:sldId id="400"/>
            <p14:sldId id="401"/>
            <p14:sldId id="402"/>
            <p14:sldId id="278"/>
          </p14:sldIdLst>
        </p14:section>
      </p14:sectionLst>
    </p:ext>
    <p:ext uri="{EFAFB233-063F-42B5-8137-9DF3F51BA10A}">
      <p15:sldGuideLst xmlns:p15="http://schemas.microsoft.com/office/powerpoint/2012/main">
        <p15:guide id="11" orient="horz" pos="2232" userDrawn="1">
          <p15:clr>
            <a:srgbClr val="A4A3A4"/>
          </p15:clr>
        </p15:guide>
        <p15:guide id="1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egman, Kevin R" initials="KRW" lastIdx="3" clrIdx="0">
    <p:extLst>
      <p:ext uri="{19B8F6BF-5375-455C-9EA6-DF929625EA0E}">
        <p15:presenceInfo xmlns:p15="http://schemas.microsoft.com/office/powerpoint/2012/main" userId="Wegman, Kevin R" providerId="None"/>
      </p:ext>
    </p:extLst>
  </p:cmAuthor>
  <p:cmAuthor id="2" name="Wegman, Kevin R" initials="WKR" lastIdx="22" clrIdx="1">
    <p:extLst>
      <p:ext uri="{19B8F6BF-5375-455C-9EA6-DF929625EA0E}">
        <p15:presenceInfo xmlns:p15="http://schemas.microsoft.com/office/powerpoint/2012/main" userId="S::wegman@battelle.org::c18537a8-1f4b-4452-805c-0c13310b5d6a" providerId="AD"/>
      </p:ext>
    </p:extLst>
  </p:cmAuthor>
  <p:cmAuthor id="3" name="Castleberry, Alissa M" initials="CAM" lastIdx="1" clrIdx="2">
    <p:extLst>
      <p:ext uri="{19B8F6BF-5375-455C-9EA6-DF929625EA0E}">
        <p15:presenceInfo xmlns:p15="http://schemas.microsoft.com/office/powerpoint/2012/main" userId="S::castleberry@battelle.org::43311b8a-63cf-4489-9215-dc3d8aada633" providerId="AD"/>
      </p:ext>
    </p:extLst>
  </p:cmAuthor>
  <p:cmAuthor id="4" name="Peraza, Emily" initials="PE" lastIdx="8" clrIdx="3">
    <p:extLst>
      <p:ext uri="{19B8F6BF-5375-455C-9EA6-DF929625EA0E}">
        <p15:presenceInfo xmlns:p15="http://schemas.microsoft.com/office/powerpoint/2012/main" userId="S::peraza@battelle.org::99ebe6e5-eb6c-4e76-acc8-9c6f572b3a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76BE"/>
    <a:srgbClr val="000000"/>
    <a:srgbClr val="FAA41A"/>
    <a:srgbClr val="73B564"/>
    <a:srgbClr val="DF6420"/>
    <a:srgbClr val="CB7F04"/>
    <a:srgbClr val="622A74"/>
    <a:srgbClr val="528F44"/>
    <a:srgbClr val="A74B1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68" autoAdjust="0"/>
    <p:restoredTop sz="95220" autoAdjust="0"/>
  </p:normalViewPr>
  <p:slideViewPr>
    <p:cSldViewPr snapToGrid="0" showGuides="1">
      <p:cViewPr varScale="1">
        <p:scale>
          <a:sx n="108" d="100"/>
          <a:sy n="108" d="100"/>
        </p:scale>
        <p:origin x="750" y="114"/>
      </p:cViewPr>
      <p:guideLst>
        <p:guide orient="horz" pos="2232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2340" y="102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notesMaster" Target="notesMasters/notesMaster1.xml"/><Relationship Id="rId95" Type="http://schemas.openxmlformats.org/officeDocument/2006/relationships/viewProps" Target="viewProps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handoutMaster" Target="handoutMasters/handoutMaster1.xml"/><Relationship Id="rId9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tags" Target="tags/tag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2519" tIns="46259" rIns="92519" bIns="4625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5" y="0"/>
            <a:ext cx="2971800" cy="457200"/>
          </a:xfrm>
          <a:prstGeom prst="rect">
            <a:avLst/>
          </a:prstGeom>
        </p:spPr>
        <p:txBody>
          <a:bodyPr vert="horz" lIns="92519" tIns="46259" rIns="92519" bIns="46259" rtlCol="0"/>
          <a:lstStyle>
            <a:lvl1pPr algn="r">
              <a:defRPr sz="1200"/>
            </a:lvl1pPr>
          </a:lstStyle>
          <a:p>
            <a:fld id="{A7383D55-1D8E-47F0-8407-8CF902454C52}" type="datetimeFigureOut">
              <a:rPr lang="en-US" smtClean="0"/>
              <a:t>6/1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2519" tIns="46259" rIns="92519" bIns="4625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5" y="8685213"/>
            <a:ext cx="2971800" cy="457200"/>
          </a:xfrm>
          <a:prstGeom prst="rect">
            <a:avLst/>
          </a:prstGeom>
        </p:spPr>
        <p:txBody>
          <a:bodyPr vert="horz" lIns="92519" tIns="46259" rIns="92519" bIns="46259" rtlCol="0" anchor="b"/>
          <a:lstStyle>
            <a:lvl1pPr algn="r">
              <a:defRPr sz="1200"/>
            </a:lvl1pPr>
          </a:lstStyle>
          <a:p>
            <a:fld id="{30D73952-53CB-4D8F-B858-71DE4FE97A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0925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2519" tIns="46259" rIns="92519" bIns="4625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5" y="0"/>
            <a:ext cx="2971800" cy="457200"/>
          </a:xfrm>
          <a:prstGeom prst="rect">
            <a:avLst/>
          </a:prstGeom>
        </p:spPr>
        <p:txBody>
          <a:bodyPr vert="horz" lIns="92519" tIns="46259" rIns="92519" bIns="46259" rtlCol="0"/>
          <a:lstStyle>
            <a:lvl1pPr algn="r">
              <a:defRPr sz="1200"/>
            </a:lvl1pPr>
          </a:lstStyle>
          <a:p>
            <a:fld id="{26C5454E-9E81-4C99-A91B-42C07507225A}" type="datetimeFigureOut">
              <a:rPr lang="en-US" smtClean="0"/>
              <a:t>6/1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4213"/>
            <a:ext cx="6099175" cy="34305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519" tIns="46259" rIns="92519" bIns="4625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2"/>
            <a:ext cx="5486400" cy="4114800"/>
          </a:xfrm>
          <a:prstGeom prst="rect">
            <a:avLst/>
          </a:prstGeom>
        </p:spPr>
        <p:txBody>
          <a:bodyPr vert="horz" lIns="92519" tIns="46259" rIns="92519" bIns="4625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2519" tIns="46259" rIns="92519" bIns="4625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5" y="8685213"/>
            <a:ext cx="2971800" cy="457200"/>
          </a:xfrm>
          <a:prstGeom prst="rect">
            <a:avLst/>
          </a:prstGeom>
        </p:spPr>
        <p:txBody>
          <a:bodyPr vert="horz" lIns="92519" tIns="46259" rIns="92519" bIns="46259" rtlCol="0" anchor="b"/>
          <a:lstStyle>
            <a:lvl1pPr algn="r">
              <a:defRPr sz="1200"/>
            </a:lvl1pPr>
          </a:lstStyle>
          <a:p>
            <a:fld id="{AA537934-768C-4C37-BAD1-E522F3AEB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975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684213"/>
            <a:ext cx="6099175" cy="3430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86135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4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5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376989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 bwMode="gray">
          <a:xfrm>
            <a:off x="2" y="3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8493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1792" y="5138929"/>
            <a:ext cx="10948416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1792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621792" y="3483864"/>
            <a:ext cx="10948416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9B9E6F6B-11FE-4997-B40E-4F32CFC30077}"/>
              </a:ext>
            </a:extLst>
          </p:cNvPr>
          <p:cNvSpPr txBox="1"/>
          <p:nvPr userDrawn="1"/>
        </p:nvSpPr>
        <p:spPr>
          <a:xfrm>
            <a:off x="4389266" y="6539171"/>
            <a:ext cx="3411357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0167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92" y="420624"/>
            <a:ext cx="10948416" cy="531738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1792" y="1481328"/>
            <a:ext cx="10948416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21792" y="905256"/>
            <a:ext cx="10948416" cy="44849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91A8B9E0-D803-466B-825A-C89575A1334C}"/>
              </a:ext>
            </a:extLst>
          </p:cNvPr>
          <p:cNvSpPr txBox="1"/>
          <p:nvPr userDrawn="1"/>
        </p:nvSpPr>
        <p:spPr>
          <a:xfrm>
            <a:off x="4389266" y="6539171"/>
            <a:ext cx="3411357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721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1792" y="420624"/>
            <a:ext cx="10948416" cy="9633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1792" y="1481328"/>
            <a:ext cx="5266944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03264" y="1481328"/>
            <a:ext cx="5266944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D5FABA0C-E164-4591-B8FC-51333A2CDAF5}"/>
              </a:ext>
            </a:extLst>
          </p:cNvPr>
          <p:cNvSpPr txBox="1"/>
          <p:nvPr userDrawn="1"/>
        </p:nvSpPr>
        <p:spPr>
          <a:xfrm>
            <a:off x="4389266" y="6539171"/>
            <a:ext cx="3411357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04347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1"/>
            <a:ext cx="12192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0" y="5918945"/>
            <a:ext cx="12192000" cy="507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0" y="5717789"/>
            <a:ext cx="12192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6012657"/>
            <a:ext cx="12192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1792" y="3328417"/>
            <a:ext cx="10948416" cy="1329267"/>
          </a:xfrm>
        </p:spPr>
        <p:txBody>
          <a:bodyPr>
            <a:noAutofit/>
          </a:bodyPr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621792" y="1972855"/>
            <a:ext cx="10948416" cy="1165224"/>
          </a:xfrm>
        </p:spPr>
        <p:txBody>
          <a:bodyPr anchor="b" anchorCtr="0"/>
          <a:lstStyle>
            <a:lvl1pPr>
              <a:defRPr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Section Header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BF84D63A-608A-415D-AE9B-381AA7137061}"/>
              </a:ext>
            </a:extLst>
          </p:cNvPr>
          <p:cNvSpPr txBox="1"/>
          <p:nvPr userDrawn="1"/>
        </p:nvSpPr>
        <p:spPr>
          <a:xfrm>
            <a:off x="4389266" y="6539171"/>
            <a:ext cx="3411357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639114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604724" y="3563772"/>
            <a:ext cx="10982552" cy="45719"/>
            <a:chOff x="453543" y="3563772"/>
            <a:chExt cx="8236914" cy="45719"/>
          </a:xfrm>
        </p:grpSpPr>
        <p:sp>
          <p:nvSpPr>
            <p:cNvPr id="24" name="Rectangle 23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7" name="Group 26"/>
          <p:cNvGrpSpPr/>
          <p:nvPr userDrawn="1"/>
        </p:nvGrpSpPr>
        <p:grpSpPr>
          <a:xfrm>
            <a:off x="6063608" y="1233840"/>
            <a:ext cx="64785" cy="4822179"/>
            <a:chOff x="4547705" y="1233839"/>
            <a:chExt cx="48589" cy="4822179"/>
          </a:xfrm>
        </p:grpSpPr>
        <p:sp>
          <p:nvSpPr>
            <p:cNvPr id="32" name="Rectangle 31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Rectangle 32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1793" y="1865376"/>
            <a:ext cx="5143500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437376" y="1865376"/>
            <a:ext cx="5145024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Text Placeholder 2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21793" y="4169664"/>
            <a:ext cx="5143500" cy="1660672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Text Placeholder 24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37376" y="4169664"/>
            <a:ext cx="5145024" cy="1664208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itle 27"/>
          <p:cNvSpPr>
            <a:spLocks noGrp="1"/>
          </p:cNvSpPr>
          <p:nvPr userDrawn="1">
            <p:ph type="title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" name="Text Placeholder 39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21792" y="1481328"/>
            <a:ext cx="5145093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1" name="Text Placeholder 39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6437376" y="1481328"/>
            <a:ext cx="5145024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621793" y="3767328"/>
            <a:ext cx="5147305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3" name="Text Placeholder 39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6437376" y="3767328"/>
            <a:ext cx="5145024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2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29" name="TextBox 28" descr="CONFIDENTIAL_TAG_0xFFEE">
            <a:extLst>
              <a:ext uri="{FF2B5EF4-FFF2-40B4-BE49-F238E27FC236}">
                <a16:creationId xmlns:a16="http://schemas.microsoft.com/office/drawing/2014/main" id="{2F141CB8-54AA-4173-871A-F846DC117835}"/>
              </a:ext>
            </a:extLst>
          </p:cNvPr>
          <p:cNvSpPr txBox="1"/>
          <p:nvPr userDrawn="1"/>
        </p:nvSpPr>
        <p:spPr>
          <a:xfrm>
            <a:off x="4389266" y="6539171"/>
            <a:ext cx="3411357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946405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1792" y="1481328"/>
            <a:ext cx="5266944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1792" y="1892808"/>
            <a:ext cx="5266944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03264" y="1481328"/>
            <a:ext cx="5266944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303264" y="1892808"/>
            <a:ext cx="5266944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36037F71-C8BC-43CF-923D-55D366D2AA7E}"/>
              </a:ext>
            </a:extLst>
          </p:cNvPr>
          <p:cNvSpPr txBox="1"/>
          <p:nvPr userDrawn="1"/>
        </p:nvSpPr>
        <p:spPr>
          <a:xfrm>
            <a:off x="4389266" y="6539171"/>
            <a:ext cx="3411357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19622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1792" y="1481329"/>
            <a:ext cx="5266944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1792" y="1901952"/>
            <a:ext cx="5266944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03264" y="1481329"/>
            <a:ext cx="5266944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303264" y="1901952"/>
            <a:ext cx="5266944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621792" y="2377440"/>
            <a:ext cx="5266944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6303264" y="2377440"/>
            <a:ext cx="5266944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5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7" name="TextBox 16" descr="CONFIDENTIAL_TAG_0xFFEE">
            <a:extLst>
              <a:ext uri="{FF2B5EF4-FFF2-40B4-BE49-F238E27FC236}">
                <a16:creationId xmlns:a16="http://schemas.microsoft.com/office/drawing/2014/main" id="{3B2E6700-B7C7-4959-8DC2-3136190E1409}"/>
              </a:ext>
            </a:extLst>
          </p:cNvPr>
          <p:cNvSpPr txBox="1"/>
          <p:nvPr userDrawn="1"/>
        </p:nvSpPr>
        <p:spPr>
          <a:xfrm>
            <a:off x="4389266" y="6539171"/>
            <a:ext cx="3411357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765240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688B6481-F044-43E3-A6D1-A18A2E90C2B1}"/>
              </a:ext>
            </a:extLst>
          </p:cNvPr>
          <p:cNvSpPr txBox="1"/>
          <p:nvPr userDrawn="1"/>
        </p:nvSpPr>
        <p:spPr>
          <a:xfrm>
            <a:off x="4389266" y="6539171"/>
            <a:ext cx="3411357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489411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722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9000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 bwMode="white"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9" name="Rectangle 28"/>
          <p:cNvSpPr/>
          <p:nvPr userDrawn="1"/>
        </p:nvSpPr>
        <p:spPr bwMode="white"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1" name="Rectangle 30"/>
          <p:cNvSpPr/>
          <p:nvPr userDrawn="1"/>
        </p:nvSpPr>
        <p:spPr bwMode="white"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2" name="Rectangle 31"/>
          <p:cNvSpPr/>
          <p:nvPr userDrawn="1"/>
        </p:nvSpPr>
        <p:spPr bwMode="gray">
          <a:xfrm>
            <a:off x="-1" y="3246120"/>
            <a:ext cx="12191999" cy="365760"/>
          </a:xfrm>
          <a:prstGeom prst="rect">
            <a:avLst/>
          </a:prstGeom>
          <a:solidFill>
            <a:srgbClr val="00428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33" name="TextBox 32"/>
          <p:cNvSpPr txBox="1"/>
          <p:nvPr userDrawn="1"/>
        </p:nvSpPr>
        <p:spPr>
          <a:xfrm>
            <a:off x="3213255" y="6225331"/>
            <a:ext cx="5765489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0" b="1" dirty="0">
                <a:solidFill>
                  <a:schemeClr val="tx2"/>
                </a:solidFill>
              </a:rPr>
              <a:t>800.201.2011  |  solutions@battelle.org</a:t>
            </a:r>
            <a:r>
              <a:rPr lang="en-US" sz="1560" b="1" baseline="0" dirty="0">
                <a:solidFill>
                  <a:schemeClr val="tx2"/>
                </a:solidFill>
              </a:rPr>
              <a:t>   |  www.battelle.org</a:t>
            </a:r>
            <a:endParaRPr lang="en-US" sz="1560" b="1" dirty="0">
              <a:solidFill>
                <a:schemeClr val="tx2"/>
              </a:solidFill>
            </a:endParaRPr>
          </a:p>
        </p:txBody>
      </p: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2414" y="4318091"/>
            <a:ext cx="6067173" cy="1333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7730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without Image and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0" y="0"/>
            <a:ext cx="12192000" cy="53828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7" name="Rectangle 26"/>
          <p:cNvSpPr/>
          <p:nvPr userDrawn="1"/>
        </p:nvSpPr>
        <p:spPr bwMode="white">
          <a:xfrm flipV="1">
            <a:off x="0" y="5963440"/>
            <a:ext cx="12192000" cy="7929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0" y="5243656"/>
            <a:ext cx="12192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0" y="5538524"/>
            <a:ext cx="12192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1945" y="2099930"/>
            <a:ext cx="6688113" cy="1470146"/>
          </a:xfrm>
          <a:prstGeom prst="rect">
            <a:avLst/>
          </a:prstGeom>
        </p:spPr>
      </p:pic>
      <p:sp>
        <p:nvSpPr>
          <p:cNvPr id="31" name="TextBox 30"/>
          <p:cNvSpPr txBox="1"/>
          <p:nvPr userDrawn="1"/>
        </p:nvSpPr>
        <p:spPr>
          <a:xfrm>
            <a:off x="3213255" y="6225331"/>
            <a:ext cx="5765489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0" b="1" dirty="0">
                <a:solidFill>
                  <a:schemeClr val="tx2"/>
                </a:solidFill>
              </a:rPr>
              <a:t>800.201.2011  |  solutions@battelle.org</a:t>
            </a:r>
            <a:r>
              <a:rPr lang="en-US" sz="1560" b="1" baseline="0" dirty="0">
                <a:solidFill>
                  <a:schemeClr val="tx2"/>
                </a:solidFill>
              </a:rPr>
              <a:t>   |  www.battelle.org</a:t>
            </a:r>
            <a:endParaRPr lang="en-US" sz="156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7275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 bwMode="gray">
          <a:xfrm>
            <a:off x="0" y="-1"/>
            <a:ext cx="12192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5" name="Rectangle 24"/>
          <p:cNvSpPr/>
          <p:nvPr userDrawn="1"/>
        </p:nvSpPr>
        <p:spPr bwMode="gray">
          <a:xfrm>
            <a:off x="0" y="5918945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6" name="Rectangle 25"/>
          <p:cNvSpPr/>
          <p:nvPr userDrawn="1"/>
        </p:nvSpPr>
        <p:spPr bwMode="gray">
          <a:xfrm>
            <a:off x="0" y="5717788"/>
            <a:ext cx="12192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7" name="Rectangle 26"/>
          <p:cNvSpPr/>
          <p:nvPr userDrawn="1"/>
        </p:nvSpPr>
        <p:spPr bwMode="gray">
          <a:xfrm>
            <a:off x="0" y="6012656"/>
            <a:ext cx="12192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1792" y="342901"/>
            <a:ext cx="10948416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1792" y="2871217"/>
            <a:ext cx="10948416" cy="323165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1792" y="4560889"/>
            <a:ext cx="10948416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88A670ED-0B40-4574-BA9C-69FEBD72D5AA}"/>
              </a:ext>
            </a:extLst>
          </p:cNvPr>
          <p:cNvSpPr txBox="1"/>
          <p:nvPr userDrawn="1"/>
        </p:nvSpPr>
        <p:spPr>
          <a:xfrm>
            <a:off x="4389266" y="6539171"/>
            <a:ext cx="3411357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749307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8372" y="3570507"/>
            <a:ext cx="10962291" cy="1033024"/>
          </a:xfrm>
        </p:spPr>
        <p:txBody>
          <a:bodyPr>
            <a:normAutofit/>
          </a:bodyPr>
          <a:lstStyle>
            <a:lvl1pPr marL="0" indent="0" algn="l">
              <a:buNone/>
              <a:defRPr sz="4000">
                <a:solidFill>
                  <a:srgbClr val="0070B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itle 3"/>
          <p:cNvSpPr txBox="1">
            <a:spLocks/>
          </p:cNvSpPr>
          <p:nvPr userDrawn="1"/>
        </p:nvSpPr>
        <p:spPr bwMode="auto">
          <a:xfrm>
            <a:off x="413467" y="2652456"/>
            <a:ext cx="10566400" cy="644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3366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2F80"/>
                </a:solidFill>
                <a:latin typeface="Times New Roman" pitchFamily="18" charset="0"/>
                <a:ea typeface="ＭＳ Ｐゴシック" charset="0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2F80"/>
                </a:solidFill>
                <a:latin typeface="Times New Roman" pitchFamily="18" charset="0"/>
                <a:ea typeface="ＭＳ Ｐゴシック" charset="0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2F80"/>
                </a:solidFill>
                <a:latin typeface="Times New Roman" pitchFamily="18" charset="0"/>
                <a:ea typeface="ＭＳ Ｐゴシック" charset="0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2F80"/>
                </a:solidFill>
                <a:latin typeface="Times New Roman" pitchFamily="18" charset="0"/>
                <a:ea typeface="ＭＳ Ｐゴシック" charset="0"/>
                <a:cs typeface="ＭＳ Ｐゴシック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2F80"/>
                </a:solidFill>
                <a:latin typeface="Times New Roman" pitchFamily="18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2F80"/>
                </a:solidFill>
                <a:latin typeface="Times New Roman" pitchFamily="18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2F80"/>
                </a:solidFill>
                <a:latin typeface="Times New Roman" pitchFamily="18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2F80"/>
                </a:solidFill>
                <a:latin typeface="Times New Roman" pitchFamily="18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ＭＳ Ｐゴシック" charset="0"/>
                <a:cs typeface="ＭＳ Ｐゴシック" charset="0"/>
              </a:rPr>
              <a:t>DHS SCIENCE</a:t>
            </a:r>
            <a:r>
              <a:rPr kumimoji="0" lang="en-US" sz="2800" i="0" u="none" strike="noStrike" kern="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ＭＳ Ｐゴシック" charset="0"/>
                <a:cs typeface="ＭＳ Ｐゴシック" charset="0"/>
              </a:rPr>
              <a:t> AND TECHNOLOGY</a:t>
            </a:r>
            <a:endParaRPr kumimoji="0" lang="en-US" sz="28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ＭＳ Ｐゴシック" charset="0"/>
              <a:cs typeface="ＭＳ Ｐゴシック" charset="0"/>
            </a:endParaRPr>
          </a:p>
        </p:txBody>
      </p:sp>
      <p:pic>
        <p:nvPicPr>
          <p:cNvPr id="7" name="Picture 6" descr="DHS_S&amp;T_logo_blue_rgb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467" y="5254919"/>
            <a:ext cx="3301700" cy="1050354"/>
          </a:xfrm>
          <a:prstGeom prst="rect">
            <a:avLst/>
          </a:prstGeom>
        </p:spPr>
      </p:pic>
      <p:sp>
        <p:nvSpPr>
          <p:cNvPr id="9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6502400" y="5273565"/>
            <a:ext cx="5384800" cy="3810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buNone/>
              <a:defRPr sz="1600" b="1" baseline="0">
                <a:solidFill>
                  <a:srgbClr val="333333"/>
                </a:solidFill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1" hasCustomPrompt="1"/>
          </p:nvPr>
        </p:nvSpPr>
        <p:spPr>
          <a:xfrm>
            <a:off x="6502400" y="5654565"/>
            <a:ext cx="5384800" cy="10668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1600" baseline="0">
                <a:solidFill>
                  <a:srgbClr val="333333"/>
                </a:solidFill>
              </a:defRPr>
            </a:lvl1pPr>
          </a:lstStyle>
          <a:p>
            <a:pPr lvl="0"/>
            <a:r>
              <a:rPr lang="en-US" dirty="0"/>
              <a:t>Title</a:t>
            </a:r>
            <a:br>
              <a:rPr lang="en-US" dirty="0"/>
            </a:br>
            <a:r>
              <a:rPr lang="en-US" dirty="0"/>
              <a:t>Office</a:t>
            </a:r>
            <a:br>
              <a:rPr lang="en-US" dirty="0"/>
            </a:br>
            <a:r>
              <a:rPr lang="en-US" dirty="0"/>
              <a:t>Science and Technology Directorate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6502400" y="4740165"/>
            <a:ext cx="5384800" cy="3810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buNone/>
              <a:defRPr sz="1600" b="1" baseline="0">
                <a:solidFill>
                  <a:srgbClr val="333333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E3D862-0C64-4F5B-9516-91E75386E23F}"/>
              </a:ext>
            </a:extLst>
          </p:cNvPr>
          <p:cNvSpPr txBox="1"/>
          <p:nvPr userDrawn="1"/>
        </p:nvSpPr>
        <p:spPr>
          <a:xfrm>
            <a:off x="3553766" y="6550224"/>
            <a:ext cx="38133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accent4"/>
                </a:solidFill>
              </a:rPr>
              <a:t>UNCLASSIFIED//FOR OFFICIAL USE ONL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5B5ED20-FA8C-4CDE-8F5A-31EAE84CF15C}"/>
              </a:ext>
            </a:extLst>
          </p:cNvPr>
          <p:cNvSpPr txBox="1"/>
          <p:nvPr userDrawn="1"/>
        </p:nvSpPr>
        <p:spPr>
          <a:xfrm>
            <a:off x="3553766" y="-74514"/>
            <a:ext cx="38133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bg2"/>
                </a:solidFill>
              </a:rPr>
              <a:t>UNCLASSIFIED//FOR OFFICIAL USE ONLY</a:t>
            </a:r>
          </a:p>
        </p:txBody>
      </p:sp>
    </p:spTree>
    <p:extLst>
      <p:ext uri="{BB962C8B-B14F-4D97-AF65-F5344CB8AC3E}">
        <p14:creationId xmlns:p14="http://schemas.microsoft.com/office/powerpoint/2010/main" val="20372322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30" name="Picture 18" descr="Image result for clustering">
            <a:extLst>
              <a:ext uri="{FF2B5EF4-FFF2-40B4-BE49-F238E27FC236}">
                <a16:creationId xmlns:a16="http://schemas.microsoft.com/office/drawing/2014/main" id="{3319BD46-E747-4A40-82FF-0293C964D4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191999" cy="6255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C961091-E286-4FA0-8E11-01FF5359B282}"/>
              </a:ext>
            </a:extLst>
          </p:cNvPr>
          <p:cNvSpPr/>
          <p:nvPr userDrawn="1"/>
        </p:nvSpPr>
        <p:spPr>
          <a:xfrm>
            <a:off x="0" y="3315681"/>
            <a:ext cx="12192000" cy="2649690"/>
          </a:xfrm>
          <a:prstGeom prst="rect">
            <a:avLst/>
          </a:prstGeom>
          <a:solidFill>
            <a:srgbClr val="424242">
              <a:alpha val="9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C16703A-2EEA-4AF0-B9AC-B29F139D25DE}"/>
              </a:ext>
            </a:extLst>
          </p:cNvPr>
          <p:cNvSpPr/>
          <p:nvPr userDrawn="1"/>
        </p:nvSpPr>
        <p:spPr>
          <a:xfrm>
            <a:off x="0" y="5027052"/>
            <a:ext cx="12192000" cy="1228605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1792" y="5138929"/>
            <a:ext cx="10948416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1793" y="457200"/>
            <a:ext cx="4469201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621792" y="3483864"/>
            <a:ext cx="10948416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25" name="TextBox 24" descr="CONFIDENTIAL_TAG_0xFFEE"/>
          <p:cNvSpPr txBox="1"/>
          <p:nvPr userDrawn="1"/>
        </p:nvSpPr>
        <p:spPr>
          <a:xfrm>
            <a:off x="2927825" y="6519673"/>
            <a:ext cx="6336353" cy="2000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algn="ctr"/>
            <a:endParaRPr lang="en-GB" sz="900" noProof="0" dirty="0">
              <a:solidFill>
                <a:srgbClr val="424242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3127"/>
            <a:ext cx="745065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398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8" descr="https://www.esante-bretagne.fr/wp-content/uploads/2015/01/Fotolia_49945628_XXL.jpg">
            <a:extLst>
              <a:ext uri="{FF2B5EF4-FFF2-40B4-BE49-F238E27FC236}">
                <a16:creationId xmlns:a16="http://schemas.microsoft.com/office/drawing/2014/main" id="{22A2E0F7-51D9-4552-9EC6-88F889E056C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6371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C961091-E286-4FA0-8E11-01FF5359B282}"/>
              </a:ext>
            </a:extLst>
          </p:cNvPr>
          <p:cNvSpPr/>
          <p:nvPr userDrawn="1"/>
        </p:nvSpPr>
        <p:spPr>
          <a:xfrm>
            <a:off x="0" y="3315681"/>
            <a:ext cx="12192000" cy="2142145"/>
          </a:xfrm>
          <a:prstGeom prst="rect">
            <a:avLst/>
          </a:prstGeom>
          <a:solidFill>
            <a:srgbClr val="424242">
              <a:alpha val="9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C16703A-2EEA-4AF0-B9AC-B29F139D25DE}"/>
              </a:ext>
            </a:extLst>
          </p:cNvPr>
          <p:cNvSpPr/>
          <p:nvPr userDrawn="1"/>
        </p:nvSpPr>
        <p:spPr>
          <a:xfrm>
            <a:off x="0" y="5027052"/>
            <a:ext cx="12192000" cy="881591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1792" y="5138929"/>
            <a:ext cx="10948416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1793" y="457200"/>
            <a:ext cx="4469201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621792" y="3483864"/>
            <a:ext cx="10948416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25" name="TextBox 24" descr="CONFIDENTIAL_TAG_0xFFEE"/>
          <p:cNvSpPr txBox="1"/>
          <p:nvPr userDrawn="1"/>
        </p:nvSpPr>
        <p:spPr>
          <a:xfrm>
            <a:off x="2927825" y="6519673"/>
            <a:ext cx="6336353" cy="2000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algn="ctr"/>
            <a:endParaRPr lang="en-GB" sz="900" noProof="0" dirty="0">
              <a:solidFill>
                <a:srgbClr val="424242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3127"/>
            <a:ext cx="745065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14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0" y="5918945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3" name="Rectangle 22"/>
          <p:cNvSpPr/>
          <p:nvPr userDrawn="1"/>
        </p:nvSpPr>
        <p:spPr bwMode="gray">
          <a:xfrm>
            <a:off x="0" y="6019800"/>
            <a:ext cx="12192000" cy="242207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4" name="Rectangle 23"/>
          <p:cNvSpPr/>
          <p:nvPr userDrawn="1"/>
        </p:nvSpPr>
        <p:spPr bwMode="gray">
          <a:xfrm>
            <a:off x="0" y="6139543"/>
            <a:ext cx="12192000" cy="236645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1792" y="342901"/>
            <a:ext cx="10948416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1792" y="2871216"/>
            <a:ext cx="10948416" cy="320040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accent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1792" y="4560889"/>
            <a:ext cx="10948416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accent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0A631AE4-6E7C-45A3-9099-5A31115F028A}"/>
              </a:ext>
            </a:extLst>
          </p:cNvPr>
          <p:cNvSpPr txBox="1"/>
          <p:nvPr userDrawn="1"/>
        </p:nvSpPr>
        <p:spPr>
          <a:xfrm>
            <a:off x="4389266" y="6539171"/>
            <a:ext cx="3411357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512049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2001" cy="6376989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2" y="3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1792" y="5138929"/>
            <a:ext cx="10948416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1792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621792" y="3483864"/>
            <a:ext cx="10948416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3B14AD72-01DC-4B02-B9A5-D01B18A078DF}"/>
              </a:ext>
            </a:extLst>
          </p:cNvPr>
          <p:cNvSpPr txBox="1"/>
          <p:nvPr userDrawn="1"/>
        </p:nvSpPr>
        <p:spPr>
          <a:xfrm>
            <a:off x="4389266" y="6539171"/>
            <a:ext cx="3411357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6977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376989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2" y="3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1792" y="5138929"/>
            <a:ext cx="10948416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1792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621792" y="3483864"/>
            <a:ext cx="10948416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3696D0C8-6B16-4ED1-B267-89003CAF3F2E}"/>
              </a:ext>
            </a:extLst>
          </p:cNvPr>
          <p:cNvSpPr txBox="1"/>
          <p:nvPr userDrawn="1"/>
        </p:nvSpPr>
        <p:spPr>
          <a:xfrm>
            <a:off x="4389266" y="6539171"/>
            <a:ext cx="3411357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886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075"/>
            <a:ext cx="12192000" cy="6381063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gray">
          <a:xfrm>
            <a:off x="2" y="3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363636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1792" y="5138929"/>
            <a:ext cx="10948416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1792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621792" y="3483864"/>
            <a:ext cx="10948416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623A1F17-824C-42F8-B87C-A3E15415803F}"/>
              </a:ext>
            </a:extLst>
          </p:cNvPr>
          <p:cNvSpPr txBox="1"/>
          <p:nvPr userDrawn="1"/>
        </p:nvSpPr>
        <p:spPr>
          <a:xfrm>
            <a:off x="4389266" y="6539171"/>
            <a:ext cx="3411357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8479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Related image">
            <a:extLst>
              <a:ext uri="{FF2B5EF4-FFF2-40B4-BE49-F238E27FC236}">
                <a16:creationId xmlns:a16="http://schemas.microsoft.com/office/drawing/2014/main" id="{B96DA6BD-C336-4219-BE1A-2F40B110788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376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/>
          <p:cNvSpPr/>
          <p:nvPr userDrawn="1"/>
        </p:nvSpPr>
        <p:spPr bwMode="gray">
          <a:xfrm>
            <a:off x="2" y="3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4646385"/>
            <a:ext cx="12192000" cy="1717547"/>
          </a:xfrm>
          <a:prstGeom prst="rect">
            <a:avLst/>
          </a:prstGeom>
          <a:solidFill>
            <a:srgbClr val="363636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1792" y="5820228"/>
            <a:ext cx="10948416" cy="433429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1792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621792" y="4949368"/>
            <a:ext cx="10948416" cy="717877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623A1F17-824C-42F8-B87C-A3E15415803F}"/>
              </a:ext>
            </a:extLst>
          </p:cNvPr>
          <p:cNvSpPr txBox="1"/>
          <p:nvPr userDrawn="1"/>
        </p:nvSpPr>
        <p:spPr>
          <a:xfrm>
            <a:off x="4389266" y="6539171"/>
            <a:ext cx="3411357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0640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7D61B3D-7430-44BF-8901-1006CE9E10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490"/>
          <a:stretch/>
        </p:blipFill>
        <p:spPr>
          <a:xfrm>
            <a:off x="-1" y="187"/>
            <a:ext cx="12191999" cy="610249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gray">
          <a:xfrm>
            <a:off x="2" y="4"/>
            <a:ext cx="6364817" cy="622069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3990975"/>
            <a:ext cx="12192000" cy="2111702"/>
          </a:xfrm>
          <a:prstGeom prst="rect">
            <a:avLst/>
          </a:prstGeom>
          <a:solidFill>
            <a:srgbClr val="363636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1792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622872" y="4281827"/>
            <a:ext cx="10948416" cy="62124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623A1F17-824C-42F8-B87C-A3E15415803F}"/>
              </a:ext>
            </a:extLst>
          </p:cNvPr>
          <p:cNvSpPr txBox="1"/>
          <p:nvPr userDrawn="1"/>
        </p:nvSpPr>
        <p:spPr>
          <a:xfrm>
            <a:off x="4389266" y="6539171"/>
            <a:ext cx="3411357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7113B4-DDFD-45B1-BE10-2F2CC7066660}"/>
              </a:ext>
            </a:extLst>
          </p:cNvPr>
          <p:cNvSpPr/>
          <p:nvPr userDrawn="1"/>
        </p:nvSpPr>
        <p:spPr>
          <a:xfrm>
            <a:off x="0" y="5339102"/>
            <a:ext cx="12192000" cy="881591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183969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1792" y="1481328"/>
            <a:ext cx="10948416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0E00A1C0-E43C-4676-A10F-710B9FE2BD37}"/>
              </a:ext>
            </a:extLst>
          </p:cNvPr>
          <p:cNvSpPr txBox="1"/>
          <p:nvPr userDrawn="1"/>
        </p:nvSpPr>
        <p:spPr>
          <a:xfrm>
            <a:off x="4389266" y="6539171"/>
            <a:ext cx="3411357" cy="177799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667831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615950" y="6192078"/>
            <a:ext cx="11092367" cy="123966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615950" y="6252069"/>
            <a:ext cx="11092367" cy="123967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4" name="Freeform: Shape 13"/>
          <p:cNvSpPr/>
          <p:nvPr userDrawn="1"/>
        </p:nvSpPr>
        <p:spPr bwMode="white">
          <a:xfrm>
            <a:off x="11598781" y="6181821"/>
            <a:ext cx="146051" cy="221456"/>
          </a:xfrm>
          <a:custGeom>
            <a:avLst/>
            <a:gdLst>
              <a:gd name="connsiteX0" fmla="*/ 0 w 402431"/>
              <a:gd name="connsiteY0" fmla="*/ 321468 h 340518"/>
              <a:gd name="connsiteX1" fmla="*/ 114300 w 402431"/>
              <a:gd name="connsiteY1" fmla="*/ 0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21468"/>
              <a:gd name="connsiteX1" fmla="*/ 76200 w 402431"/>
              <a:gd name="connsiteY1" fmla="*/ 100013 h 321468"/>
              <a:gd name="connsiteX2" fmla="*/ 402431 w 402431"/>
              <a:gd name="connsiteY2" fmla="*/ 0 h 321468"/>
              <a:gd name="connsiteX3" fmla="*/ 104775 w 402431"/>
              <a:gd name="connsiteY3" fmla="*/ 319087 h 321468"/>
              <a:gd name="connsiteX4" fmla="*/ 0 w 402431"/>
              <a:gd name="connsiteY4" fmla="*/ 321468 h 321468"/>
              <a:gd name="connsiteX0" fmla="*/ 0 w 109537"/>
              <a:gd name="connsiteY0" fmla="*/ 221455 h 221455"/>
              <a:gd name="connsiteX1" fmla="*/ 76200 w 109537"/>
              <a:gd name="connsiteY1" fmla="*/ 0 h 221455"/>
              <a:gd name="connsiteX2" fmla="*/ 109537 w 109537"/>
              <a:gd name="connsiteY2" fmla="*/ 14287 h 221455"/>
              <a:gd name="connsiteX3" fmla="*/ 104775 w 109537"/>
              <a:gd name="connsiteY3" fmla="*/ 219074 h 221455"/>
              <a:gd name="connsiteX4" fmla="*/ 0 w 109537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14287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09537"/>
              <a:gd name="connsiteY0" fmla="*/ 221456 h 221456"/>
              <a:gd name="connsiteX1" fmla="*/ 76200 w 109537"/>
              <a:gd name="connsiteY1" fmla="*/ 1 h 221456"/>
              <a:gd name="connsiteX2" fmla="*/ 109537 w 109537"/>
              <a:gd name="connsiteY2" fmla="*/ 0 h 221456"/>
              <a:gd name="connsiteX3" fmla="*/ 104775 w 109537"/>
              <a:gd name="connsiteY3" fmla="*/ 219075 h 221456"/>
              <a:gd name="connsiteX4" fmla="*/ 0 w 109537"/>
              <a:gd name="connsiteY4" fmla="*/ 221456 h 221456"/>
              <a:gd name="connsiteX0" fmla="*/ 0 w 109538"/>
              <a:gd name="connsiteY0" fmla="*/ 221456 h 221456"/>
              <a:gd name="connsiteX1" fmla="*/ 76200 w 109538"/>
              <a:gd name="connsiteY1" fmla="*/ 1 h 221456"/>
              <a:gd name="connsiteX2" fmla="*/ 109537 w 109538"/>
              <a:gd name="connsiteY2" fmla="*/ 0 h 221456"/>
              <a:gd name="connsiteX3" fmla="*/ 109538 w 109538"/>
              <a:gd name="connsiteY3" fmla="*/ 219075 h 221456"/>
              <a:gd name="connsiteX4" fmla="*/ 0 w 109538"/>
              <a:gd name="connsiteY4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221456">
                <a:moveTo>
                  <a:pt x="0" y="221456"/>
                </a:moveTo>
                <a:lnTo>
                  <a:pt x="76200" y="1"/>
                </a:lnTo>
                <a:lnTo>
                  <a:pt x="109537" y="0"/>
                </a:lnTo>
                <a:cubicBezTo>
                  <a:pt x="109537" y="73025"/>
                  <a:pt x="109538" y="146050"/>
                  <a:pt x="109538" y="219075"/>
                </a:cubicBezTo>
                <a:lnTo>
                  <a:pt x="0" y="221456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2784" y="6519672"/>
            <a:ext cx="1463040" cy="184712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5375348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1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1792" y="420624"/>
            <a:ext cx="10948416" cy="9633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792" y="1481328"/>
            <a:ext cx="10948416" cy="4636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74005" y="6510528"/>
            <a:ext cx="1494252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1793" y="6510528"/>
            <a:ext cx="624924" cy="2088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2130" y="6510528"/>
            <a:ext cx="2993839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799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704" r:id="rId3"/>
    <p:sldLayoutId id="2147483719" r:id="rId4"/>
    <p:sldLayoutId id="2147483720" r:id="rId5"/>
    <p:sldLayoutId id="2147483721" r:id="rId6"/>
    <p:sldLayoutId id="2147483724" r:id="rId7"/>
    <p:sldLayoutId id="2147483725" r:id="rId8"/>
    <p:sldLayoutId id="2147483685" r:id="rId9"/>
    <p:sldLayoutId id="2147483686" r:id="rId10"/>
    <p:sldLayoutId id="2147483687" r:id="rId11"/>
    <p:sldLayoutId id="2147483688" r:id="rId12"/>
    <p:sldLayoutId id="2147483699" r:id="rId13"/>
    <p:sldLayoutId id="2147483705" r:id="rId14"/>
    <p:sldLayoutId id="2147483700" r:id="rId15"/>
    <p:sldLayoutId id="2147483701" r:id="rId16"/>
    <p:sldLayoutId id="2147483718" r:id="rId17"/>
    <p:sldLayoutId id="2147483702" r:id="rId18"/>
    <p:sldLayoutId id="2147483703" r:id="rId19"/>
    <p:sldLayoutId id="2147483726" r:id="rId20"/>
    <p:sldLayoutId id="2147483729" r:id="rId21"/>
    <p:sldLayoutId id="2147483728" r:id="rId22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11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−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17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1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7289" userDrawn="1">
          <p15:clr>
            <a:srgbClr val="F26B43"/>
          </p15:clr>
        </p15:guide>
        <p15:guide id="4" orient="horz" pos="2160" userDrawn="1">
          <p15:clr>
            <a:srgbClr val="F26B43"/>
          </p15:clr>
        </p15:guide>
        <p15:guide id="5" orient="horz" pos="261" userDrawn="1">
          <p15:clr>
            <a:srgbClr val="F26B43"/>
          </p15:clr>
        </p15:guide>
        <p15:guide id="6" orient="horz" pos="875" userDrawn="1">
          <p15:clr>
            <a:srgbClr val="F26B43"/>
          </p15:clr>
        </p15:guide>
        <p15:guide id="7" orient="horz" pos="928" userDrawn="1">
          <p15:clr>
            <a:srgbClr val="F26B43"/>
          </p15:clr>
        </p15:guide>
        <p15:guide id="8" orient="horz" pos="3856" userDrawn="1">
          <p15:clr>
            <a:srgbClr val="F26B43"/>
          </p15:clr>
        </p15:guide>
        <p15:guide id="10" orient="horz" pos="4200" userDrawn="1">
          <p15:clr>
            <a:srgbClr val="F26B43"/>
          </p15:clr>
        </p15:guide>
        <p15:guide id="11" orient="horz" pos="405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2530F05E-6FA4-4934-A465-879B6A3D564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14A87B9-D033-4318-8FC1-CE2E8BC378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solidFill>
            <a:schemeClr val="tx1">
              <a:lumMod val="50000"/>
              <a:alpha val="60000"/>
            </a:schemeClr>
          </a:solidFill>
        </p:spPr>
        <p:txBody>
          <a:bodyPr>
            <a:normAutofit/>
          </a:bodyPr>
          <a:lstStyle/>
          <a:p>
            <a:r>
              <a:rPr lang="en-US" dirty="0"/>
              <a:t>7 May 2020</a:t>
            </a:r>
          </a:p>
          <a:p>
            <a:endParaRPr lang="en-US" dirty="0"/>
          </a:p>
          <a:p>
            <a:r>
              <a:rPr lang="en-US" dirty="0"/>
              <a:t>Emily Peraza</a:t>
            </a:r>
          </a:p>
          <a:p>
            <a:r>
              <a:rPr lang="en-US" dirty="0"/>
              <a:t>Alissa Castleberry</a:t>
            </a:r>
          </a:p>
          <a:p>
            <a:r>
              <a:rPr lang="en-US" dirty="0"/>
              <a:t>Kevin Wegma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B9482EC-428A-4E42-A76F-FD8A5AF5DCB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b="1" i="1"/>
              <a:t>Additional Correlations</a:t>
            </a:r>
            <a:endParaRPr lang="en-US" sz="4400" b="1" dirty="0"/>
          </a:p>
        </p:txBody>
      </p:sp>
    </p:spTree>
    <p:extLst>
      <p:ext uri="{BB962C8B-B14F-4D97-AF65-F5344CB8AC3E}">
        <p14:creationId xmlns:p14="http://schemas.microsoft.com/office/powerpoint/2010/main" val="293334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34427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52048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47776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3705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45304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0736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6329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00860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18571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74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0859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0764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3265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5629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1690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55167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21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51617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5200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660528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1454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285117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8724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85942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08175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51364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22728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55679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0779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040558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433782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43396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5511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014756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78363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681839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11756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53942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659622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42049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709873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56391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7028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48869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415734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413684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04983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25571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601250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11143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17833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85944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9907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2891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03275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42227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284590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61447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965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31325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49744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19282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995230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51302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9970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6567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64472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04931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25299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805930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0079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5240125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47710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386627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669862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9643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9333603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712000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896029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852955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8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316471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8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411326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8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221370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430876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150759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89031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DE96E-7983-45DB-9F06-5C173A3B3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variate Analysis: Material and Applica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AA53E-D934-44EA-AAA4-4CC8E0C96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A4FB7-03A6-4C3A-894A-9519095333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9468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ustom 1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83389B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1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83389B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83389B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259</TotalTime>
  <Words>701</Words>
  <Application>Microsoft Office PowerPoint</Application>
  <PresentationFormat>Widescreen</PresentationFormat>
  <Paragraphs>180</Paragraphs>
  <Slides>8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8</vt:i4>
      </vt:variant>
    </vt:vector>
  </HeadingPairs>
  <TitlesOfParts>
    <vt:vector size="93" baseType="lpstr">
      <vt:lpstr>Arial</vt:lpstr>
      <vt:lpstr>Calibri</vt:lpstr>
      <vt:lpstr>Wingdings</vt:lpstr>
      <vt:lpstr>Default Theme</vt:lpstr>
      <vt:lpstr>think-cell Slide</vt:lpstr>
      <vt:lpstr>Additional Correlations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Bivariate Analysis: Material and Application Method</vt:lpstr>
      <vt:lpstr>PowerPoint Presentation</vt:lpstr>
    </vt:vector>
  </TitlesOfParts>
  <Company>Battel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Title of Presentation</dc:title>
  <dc:creator>www.wizkit.com</dc:creator>
  <cp:lastModifiedBy>Peraza, Emily</cp:lastModifiedBy>
  <cp:revision>668</cp:revision>
  <cp:lastPrinted>2019-05-06T22:07:16Z</cp:lastPrinted>
  <dcterms:created xsi:type="dcterms:W3CDTF">2014-03-04T19:43:17Z</dcterms:created>
  <dcterms:modified xsi:type="dcterms:W3CDTF">2020-06-17T12:1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5</vt:i4>
  </property>
</Properties>
</file>